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49" r:id="rId2"/>
  </p:sldMasterIdLst>
  <p:notesMasterIdLst>
    <p:notesMasterId r:id="rId14"/>
  </p:notesMasterIdLst>
  <p:handoutMasterIdLst>
    <p:handoutMasterId r:id="rId15"/>
  </p:handoutMasterIdLst>
  <p:sldIdLst>
    <p:sldId id="323" r:id="rId3"/>
    <p:sldId id="324" r:id="rId4"/>
    <p:sldId id="311" r:id="rId5"/>
    <p:sldId id="363" r:id="rId6"/>
    <p:sldId id="349" r:id="rId7"/>
    <p:sldId id="367" r:id="rId8"/>
    <p:sldId id="364" r:id="rId9"/>
    <p:sldId id="360" r:id="rId10"/>
    <p:sldId id="368" r:id="rId11"/>
    <p:sldId id="365" r:id="rId12"/>
    <p:sldId id="366" r:id="rId13"/>
  </p:sldIdLst>
  <p:sldSz cx="9144000" cy="6858000" type="screen4x3"/>
  <p:notesSz cx="6858000" cy="9144000"/>
  <p:defaultTextStyle>
    <a:defPPr>
      <a:defRPr lang="en-US"/>
    </a:defPPr>
    <a:lvl1pPr marL="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653"/>
    <a:srgbClr val="FFCC66"/>
    <a:srgbClr val="F9BE00"/>
    <a:srgbClr val="FA8D29"/>
    <a:srgbClr val="F7B334"/>
    <a:srgbClr val="6F6F73"/>
    <a:srgbClr val="EF7622"/>
    <a:srgbClr val="C4DA5A"/>
    <a:srgbClr val="CB4398"/>
    <a:srgbClr val="F9A1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36" autoAdjust="0"/>
    <p:restoredTop sz="99520" autoAdjust="0"/>
  </p:normalViewPr>
  <p:slideViewPr>
    <p:cSldViewPr snapToGrid="0" snapToObjects="1">
      <p:cViewPr varScale="1">
        <p:scale>
          <a:sx n="113" d="100"/>
          <a:sy n="113" d="100"/>
        </p:scale>
        <p:origin x="-150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image" Target="../media/image21.w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wmf"/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680A23AC-7150-364F-987A-5F47E79D1B13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A2FFAB93-3F4B-F349-BD0A-FE14ED8565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21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E0705641-FB27-7B4E-B4C1-050F58A69A04}" type="datetimeFigureOut">
              <a:rPr lang="en-US" smtClean="0"/>
              <a:t>8/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298BAAB-21E0-0B46-B02F-0D23D2293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3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9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4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TTERNS_PPT-05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49"/>
          <a:stretch/>
        </p:blipFill>
        <p:spPr>
          <a:xfrm>
            <a:off x="0" y="-22677"/>
            <a:ext cx="9144000" cy="53525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3733804"/>
            <a:ext cx="7772400" cy="1470025"/>
          </a:xfrm>
        </p:spPr>
        <p:txBody>
          <a:bodyPr>
            <a:normAutofit/>
          </a:bodyPr>
          <a:lstStyle>
            <a:lvl1pPr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is Arial </a:t>
            </a:r>
            <a:r>
              <a:rPr lang="en-US" dirty="0" err="1" smtClean="0"/>
              <a:t>36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ld, Two Li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5715008"/>
            <a:ext cx="6400800" cy="685801"/>
          </a:xfrm>
        </p:spPr>
        <p:txBody>
          <a:bodyPr>
            <a:normAutofit/>
          </a:bodyPr>
          <a:lstStyle>
            <a:lvl1pPr marL="0" indent="0" algn="l">
              <a:buNone/>
              <a:defRPr sz="19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goes here</a:t>
            </a:r>
          </a:p>
          <a:p>
            <a:r>
              <a:rPr lang="en-US" dirty="0" smtClean="0"/>
              <a:t>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2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8946A2B-3962-43D9-A9AC-0B639D6E6C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2340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707A39C-6B6E-4424-A066-EF69EFEB02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xmlns="" id="{1C346A6D-A8C7-48DA-BABE-75F550246CF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24636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071EEB4-0713-44D0-8965-567106CDF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45692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AB314FA4-E6E7-4D03-8DD9-F5AE42C93C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xmlns="" id="{D629A0EF-2B2E-4538-AF2D-10FC340A2D6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2317086-9595-40B1-9E08-042F8E419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xmlns="" id="{5D254E50-C88B-4570-9664-F94138A037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233510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7E08570-4DF1-47AB-BB6E-4A2429FFC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075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D3C3B4E-FBE6-49B5-AA23-479CE81E7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6" y="539883"/>
            <a:ext cx="7269233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EE4C5AE3-3943-4AAD-B1CB-AAF9D9743CF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xmlns="" id="{674A073C-DAC7-41A9-9707-4BA3948880B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9400112F-566B-4C6D-862A-1FB8107816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211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F13CB6D-B967-4051-B96F-5DDE63DCA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20948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E0B56BE-3ADA-4DD6-AF5B-4C1C7ADF97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780DF13-1FE3-4F42-A9BE-086BE52EDF7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8284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D806BC1A-BA58-43FE-B0DF-12489776F6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6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xmlns="" id="{2FBA26A4-FF75-4A2C-BED4-B177AC71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68358" y="1803400"/>
            <a:ext cx="3358081" cy="4196757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tabLst/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8995C69E-73AA-43AC-BB8A-57CA3AE21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xmlns="" id="{29C63470-0E4A-45F0-A0C6-A0FC9B7DCE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4064847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5EE0896-5D0B-4957-8B66-9B539E8F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4274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2D1C920-7E86-433A-878E-1A2DA5FD1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3C62558-6CA7-4E6F-B2C6-55A69D010CD8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2A7777B-8080-433E-BEF8-BB44E850769F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xmlns="" id="{1A6400C6-76AF-421D-9493-42B098530957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xmlns="" id="{F16DCEF4-F81E-437B-9456-190F4ABCB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xmlns="" id="{EA096858-1EFD-4CFA-8CED-73FB0E537B7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375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AD71BC4-BBBC-47C0-8ABB-BDB50C6FE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53723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9F112B40-2A8B-4F27-B993-92670BD19B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813E97A0-A00D-4FD0-8D61-E83DF8C60F34}"/>
              </a:ext>
            </a:extLst>
          </p:cNvPr>
          <p:cNvCxnSpPr>
            <a:cxnSpLocks/>
          </p:cNvCxnSpPr>
          <p:nvPr userDrawn="1"/>
        </p:nvCxnSpPr>
        <p:spPr>
          <a:xfrm flipV="1">
            <a:off x="5388865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ECBE94A0-08CE-4DB7-BD8F-12D176FDA349}"/>
              </a:ext>
            </a:extLst>
          </p:cNvPr>
          <p:cNvCxnSpPr>
            <a:cxnSpLocks/>
          </p:cNvCxnSpPr>
          <p:nvPr userDrawn="1"/>
        </p:nvCxnSpPr>
        <p:spPr>
          <a:xfrm flipV="1">
            <a:off x="2791969" y="1474896"/>
            <a:ext cx="0" cy="538310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xmlns="" id="{0CC8433D-867B-4F1A-A3B7-05A95CF778A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1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xmlns="" id="{D1678384-C475-4500-8C3C-327B02A18D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54097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xmlns="" id="{791665ED-B373-4917-8FE2-2E6514A81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50995" y="1803403"/>
            <a:ext cx="2072640" cy="419675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1600"/>
              </a:spcAft>
              <a:defRPr sz="1500"/>
            </a:lvl1pPr>
            <a:lvl2pPr marL="152388" indent="-152388">
              <a:spcBef>
                <a:spcPts val="0"/>
              </a:spcBef>
              <a:spcAft>
                <a:spcPts val="800"/>
              </a:spcAft>
              <a:defRPr sz="1500"/>
            </a:lvl2pPr>
            <a:lvl3pPr marL="304776" indent="-152388">
              <a:spcBef>
                <a:spcPts val="0"/>
              </a:spcBef>
              <a:spcAft>
                <a:spcPts val="800"/>
              </a:spcAft>
              <a:defRPr sz="1500"/>
            </a:lvl3pPr>
            <a:lvl4pPr marL="457167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/>
            </a:lvl4pPr>
            <a:lvl5pPr marL="609555" indent="-152388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37BF74DD-DCF4-4DAD-85DF-828FD8088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xmlns="" id="{939048E9-8F87-40E8-89CC-C980E06B9A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2580863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416971"/>
            <a:ext cx="7266432" cy="205184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1300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773856"/>
            <a:ext cx="8156568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53D8110-2103-4163-B0EE-8146662AABA9}"/>
              </a:ext>
            </a:extLst>
          </p:cNvPr>
          <p:cNvCxnSpPr>
            <a:cxnSpLocks/>
          </p:cNvCxnSpPr>
          <p:nvPr userDrawn="1"/>
        </p:nvCxnSpPr>
        <p:spPr>
          <a:xfrm>
            <a:off x="264161" y="773856"/>
            <a:ext cx="0" cy="6084144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1D7669B4-0262-435A-AFF4-C387B0B08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76" y="1428093"/>
            <a:ext cx="7000624" cy="4470275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xmlns="" id="{6FE3AE98-44FF-46EA-B956-AB54180B266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13205" y="1748237"/>
            <a:ext cx="5344795" cy="3376213"/>
          </a:xfrm>
          <a:ln w="6350">
            <a:solidFill>
              <a:schemeClr val="tx1">
                <a:lumMod val="25000"/>
                <a:lumOff val="75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xmlns="" id="{23C2761D-88C6-423D-A8C2-9E28F6C2DE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xmlns="" id="{7431E698-9189-4C0E-BE43-0D67787C1E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73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12495DF-E9DC-4DB1-A6C3-541A9B8E3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33963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84B992A-7990-44DB-B615-A6B1456BCE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7CBE550-AE45-4BA8-99F6-0CB5850E5B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D9B38D-7280-475D-9C81-8E7279EE2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9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A28B6DD-4567-4F0A-B3C6-D7E3DAFEA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48117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1CF7FFFA-E7DB-400D-949B-CA570CD45B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7BA578C-A7FC-4149-91BF-22EFF5D614C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D73F942-AA81-45A2-89A3-FD8278DB7C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F3F5C6A-3AAA-4E1E-A485-ECF3DAD32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E16EAE5D-BADF-438E-AF5B-D4639F452C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</p:spTree>
    <p:extLst>
      <p:ext uri="{BB962C8B-B14F-4D97-AF65-F5344CB8AC3E}">
        <p14:creationId xmlns:p14="http://schemas.microsoft.com/office/powerpoint/2010/main" val="3095166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Slide #2">
    <p:bg>
      <p:bgPr>
        <a:solidFill>
          <a:srgbClr val="FC91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="" xmlns:a16="http://schemas.microsoft.com/office/drawing/2014/main" id="{45205851-5C4F-485B-80B9-465BE104B44D}"/>
              </a:ext>
            </a:extLst>
          </p:cNvPr>
          <p:cNvSpPr txBox="1">
            <a:spLocks/>
          </p:cNvSpPr>
          <p:nvPr userDrawn="1"/>
        </p:nvSpPr>
        <p:spPr>
          <a:xfrm>
            <a:off x="795561" y="4457624"/>
            <a:ext cx="4055813" cy="82897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0" indent="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80000" indent="-180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800"/>
              </a:spcAft>
              <a:buClr>
                <a:schemeClr val="accent6"/>
              </a:buClr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800" b="0" dirty="0">
              <a:latin typeface="Museo 700" panose="02000000000000000000" pitchFamily="50" charset="0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="" xmlns:a16="http://schemas.microsoft.com/office/drawing/2014/main" id="{23B28F31-6AA3-4148-B16C-0F09B783EE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960" y="4713528"/>
            <a:ext cx="4055840" cy="27699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="" xmlns:a16="http://schemas.microsoft.com/office/drawing/2014/main" id="{E882DF4B-D0D0-4424-A70A-B6E98D0B37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5C2950EF-6974-42F9-9996-78052E0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5886" y="1953211"/>
            <a:ext cx="4332603" cy="1649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46077A2E-8026-4E89-9DE8-C8DCFBAF3B0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4350388"/>
            <a:ext cx="5800299" cy="1262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2CAB893D-172A-4F2D-BE32-4532335E07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8773" y="5971266"/>
            <a:ext cx="1249767" cy="74670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CDD9FB90-2F61-4566-9127-496AC3A1F2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94A2D86B-E488-4C35-A7E8-A951186121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200000">
            <a:off x="7154885" y="279538"/>
            <a:ext cx="2272263" cy="170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5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nimum-03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" y="5485304"/>
            <a:ext cx="1505715" cy="1386539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332147" y="332145"/>
            <a:ext cx="13716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472" y="590910"/>
            <a:ext cx="8412480" cy="85689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472" y="1600203"/>
            <a:ext cx="8412480" cy="4190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8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knowledgement to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F2C4A6C0-2CAB-403B-A164-09F1E31F1107}"/>
              </a:ext>
            </a:extLst>
          </p:cNvPr>
          <p:cNvSpPr/>
          <p:nvPr userDrawn="1"/>
        </p:nvSpPr>
        <p:spPr>
          <a:xfrm>
            <a:off x="628651" y="2400302"/>
            <a:ext cx="7600948" cy="2708845"/>
          </a:xfrm>
          <a:prstGeom prst="rect">
            <a:avLst/>
          </a:prstGeom>
          <a:solidFill>
            <a:srgbClr val="FCC3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rgbClr val="FC9147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60184FE-1281-4009-822A-1CACB6301359}"/>
              </a:ext>
            </a:extLst>
          </p:cNvPr>
          <p:cNvSpPr txBox="1"/>
          <p:nvPr userDrawn="1"/>
        </p:nvSpPr>
        <p:spPr>
          <a:xfrm>
            <a:off x="925697" y="2802627"/>
            <a:ext cx="7006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Acknowledgment to Country on behalf of RMIT, I’d like to acknowledge the people of th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Woi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wurrung and Boon wurrung language groups of the eastern Kulin Nations on whose </a:t>
            </a:r>
            <a:r>
              <a:rPr lang="en-AU" sz="1600" dirty="0" err="1">
                <a:latin typeface="Arial" panose="020B0604020202020204" pitchFamily="34" charset="0"/>
                <a:cs typeface="Arial" panose="020B0604020202020204" pitchFamily="34" charset="0"/>
              </a:rPr>
              <a:t>unceded</a:t>
            </a:r>
            <a:r>
              <a:rPr lang="en-AU" sz="1600" dirty="0">
                <a:latin typeface="Arial" panose="020B0604020202020204" pitchFamily="34" charset="0"/>
                <a:cs typeface="Arial" panose="020B0604020202020204" pitchFamily="34" charset="0"/>
              </a:rPr>
              <a:t> lands we conduct the business of the University. And say that RMIT University respectfully acknowledges their Ancestors and Elders, past and present.</a:t>
            </a:r>
          </a:p>
          <a:p>
            <a:endParaRPr lang="en-A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9C581FC-DDA3-49D1-9231-3D94A68AD04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87757" y="3754724"/>
            <a:ext cx="930546" cy="134512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201287E-450F-4659-B58C-FEA0E07E0060}"/>
              </a:ext>
            </a:extLst>
          </p:cNvPr>
          <p:cNvSpPr txBox="1"/>
          <p:nvPr userDrawn="1"/>
        </p:nvSpPr>
        <p:spPr>
          <a:xfrm>
            <a:off x="435015" y="166584"/>
            <a:ext cx="7495821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en-AU" sz="3000" b="1" dirty="0">
                <a:latin typeface="Arial" panose="020B0604020202020204" pitchFamily="34" charset="0"/>
                <a:cs typeface="Arial" panose="020B0604020202020204" pitchFamily="34" charset="0"/>
              </a:rPr>
              <a:t>Acknowledgement to Country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DB1BF834-B151-47C0-9B9D-E9492E6654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7D574F6F-7A96-4D4B-8786-6970878F71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5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70B0DF56-0506-4C2E-A88B-60F6EBEFFC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8373534" y="101960"/>
            <a:ext cx="880533" cy="66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A60F443-1771-4067-A72B-F7D5466762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454" y="6022125"/>
            <a:ext cx="1434707" cy="5452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C8481A2B-62B9-48DD-A387-E3B7299AFB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4615" y="936019"/>
            <a:ext cx="6006952" cy="21835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D3D431E7-1779-4856-BB5E-3D96BD97AF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6BDD548-C138-4BCA-96B1-4F02E008C9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4975" y="1787143"/>
            <a:ext cx="7886700" cy="276999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EB1EF1F2-803C-4B97-B575-D4EFC537B4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19860" y="6129337"/>
            <a:ext cx="2048078" cy="57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57F834C-B40F-4839-A70C-44BF2FBA51D7}"/>
              </a:ext>
            </a:extLst>
          </p:cNvPr>
          <p:cNvSpPr/>
          <p:nvPr userDrawn="1"/>
        </p:nvSpPr>
        <p:spPr>
          <a:xfrm>
            <a:off x="4798540" y="4572003"/>
            <a:ext cx="4345461" cy="2285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8D19FB4-9800-49FF-8C0D-2A644C3803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7341" y="5477420"/>
            <a:ext cx="949463" cy="683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C2D45D4-A086-4D25-9030-AC6B1BF9A4EA}"/>
              </a:ext>
            </a:extLst>
          </p:cNvPr>
          <p:cNvSpPr/>
          <p:nvPr userDrawn="1"/>
        </p:nvSpPr>
        <p:spPr>
          <a:xfrm>
            <a:off x="1" y="1095374"/>
            <a:ext cx="5242560" cy="57626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332A627-8433-4FAA-8436-BA986881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44" r="16454"/>
          <a:stretch/>
        </p:blipFill>
        <p:spPr>
          <a:xfrm>
            <a:off x="5904350" y="1095373"/>
            <a:ext cx="3239641" cy="295836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242560" y="0"/>
            <a:ext cx="0" cy="4572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4" y="1095375"/>
            <a:ext cx="9143999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242560" y="4572000"/>
            <a:ext cx="390144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4341339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xmlns="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4341339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bg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| Location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xmlns="" id="{46B62D49-D0F5-44D5-9C95-63976523D2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:a16="http://schemas.microsoft.com/office/drawing/2014/main" xmlns="" id="{FF345AC9-1621-4D6E-A9D1-B9DA3B358A8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933951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9376CF0-8B72-4E4F-B567-81E888A35A45}"/>
              </a:ext>
            </a:extLst>
          </p:cNvPr>
          <p:cNvSpPr/>
          <p:nvPr userDrawn="1"/>
        </p:nvSpPr>
        <p:spPr>
          <a:xfrm>
            <a:off x="7411721" y="1714501"/>
            <a:ext cx="1468121" cy="1714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914332"/>
            <a:endParaRPr lang="en-US" sz="5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B87380DB-356C-4A50-842F-A7F7E6906D39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896D8F7-C1DB-4421-A5E4-D609C4721D18}"/>
              </a:ext>
            </a:extLst>
          </p:cNvPr>
          <p:cNvCxnSpPr>
            <a:cxnSpLocks/>
          </p:cNvCxnSpPr>
          <p:nvPr userDrawn="1"/>
        </p:nvCxnSpPr>
        <p:spPr>
          <a:xfrm>
            <a:off x="5943602" y="17145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5943602" y="3429000"/>
            <a:ext cx="32004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511899"/>
            <a:ext cx="5029200" cy="1832980"/>
          </a:xfrm>
        </p:spPr>
        <p:txBody>
          <a:bodyPr/>
          <a:lstStyle>
            <a:lvl1pPr>
              <a:lnSpc>
                <a:spcPct val="90000"/>
              </a:lnSpc>
              <a:spcAft>
                <a:spcPts val="5333"/>
              </a:spcAft>
              <a:defRPr sz="53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xmlns="" id="{FFEA1FBA-B0EA-4907-A36B-311D07CAF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8402"/>
            <a:ext cx="5029200" cy="292388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800"/>
              </a:spcAft>
              <a:defRPr sz="1900">
                <a:solidFill>
                  <a:schemeClr val="accent1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| Locat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241549F-1DF9-44AF-A63B-AA2426F2D79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79840" y="-14507"/>
            <a:ext cx="0" cy="687251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14509"/>
            <a:ext cx="0" cy="34435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DA88CFE-BD8D-4DEF-A876-F00F0DB8D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978" y="2229971"/>
            <a:ext cx="949463" cy="6835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B41B6748-578E-416F-B05D-C4F964820D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092" t="22116" r="-765"/>
          <a:stretch/>
        </p:blipFill>
        <p:spPr>
          <a:xfrm>
            <a:off x="5943604" y="3429004"/>
            <a:ext cx="2132789" cy="2426121"/>
          </a:xfrm>
          <a:prstGeom prst="rect">
            <a:avLst/>
          </a:prstGeom>
        </p:spPr>
      </p:pic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xmlns="" id="{EF0D2050-68DA-4DAE-A890-B0D8799B5E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27" name="ADP MAS Executive Overview…">
            <a:extLst>
              <a:ext uri="{FF2B5EF4-FFF2-40B4-BE49-F238E27FC236}">
                <a16:creationId xmlns:a16="http://schemas.microsoft.com/office/drawing/2014/main" xmlns="" id="{57A910C2-70B0-49E3-9931-B9CABA97CE96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9249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5142739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2241554"/>
            <a:ext cx="657351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-3048"/>
            <a:ext cx="0" cy="6861048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523DA7B2-0D35-497D-AC2E-C9EC73066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3623" r="5001" b="-2723"/>
          <a:stretch/>
        </p:blipFill>
        <p:spPr>
          <a:xfrm>
            <a:off x="7411720" y="7"/>
            <a:ext cx="1732280" cy="306617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A9160C16-0B21-47E6-A6FF-44CE14EE4F5C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DP MAS Executive Overview…">
            <a:extLst>
              <a:ext uri="{FF2B5EF4-FFF2-40B4-BE49-F238E27FC236}">
                <a16:creationId xmlns:a16="http://schemas.microsoft.com/office/drawing/2014/main" xmlns="" id="{0EC01AB2-D65A-41F8-ABA2-D760F681709C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771220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3F90EBB-EB31-4CC3-B835-C36F4151A8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3429000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F1DD92B-8AE6-4A06-8D59-303DA5E6CEED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199" y="3788094"/>
            <a:ext cx="6573513" cy="656591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3429000"/>
            <a:ext cx="0" cy="3429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CC5AD8D-0522-4C0D-A9E6-7CF2680E1C40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DP MAS Executive Overview…">
            <a:extLst>
              <a:ext uri="{FF2B5EF4-FFF2-40B4-BE49-F238E27FC236}">
                <a16:creationId xmlns:a16="http://schemas.microsoft.com/office/drawing/2014/main" xmlns="" id="{DECAF130-C450-4018-A3E0-883F62CA0131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89751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F5821A04-4308-4C43-96E0-F88DA4AF5722}"/>
              </a:ext>
            </a:extLst>
          </p:cNvPr>
          <p:cNvSpPr/>
          <p:nvPr userDrawn="1"/>
        </p:nvSpPr>
        <p:spPr>
          <a:xfrm>
            <a:off x="2435704" y="6370320"/>
            <a:ext cx="5000573" cy="487680"/>
          </a:xfrm>
          <a:prstGeom prst="rect">
            <a:avLst/>
          </a:prstGeom>
          <a:solidFill>
            <a:schemeClr val="bg2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D3D24BF-A0F9-44DA-972F-8C2A31C1C074}"/>
              </a:ext>
            </a:extLst>
          </p:cNvPr>
          <p:cNvSpPr/>
          <p:nvPr userDrawn="1"/>
        </p:nvSpPr>
        <p:spPr>
          <a:xfrm>
            <a:off x="0" y="6370320"/>
            <a:ext cx="3200399" cy="487680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091E00-6678-4789-A5A8-EE73F3280C0D}"/>
              </a:ext>
            </a:extLst>
          </p:cNvPr>
          <p:cNvSpPr/>
          <p:nvPr userDrawn="1"/>
        </p:nvSpPr>
        <p:spPr>
          <a:xfrm>
            <a:off x="7411724" y="6370320"/>
            <a:ext cx="744849" cy="487680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5535F3C-1FD4-458E-A97E-008F3544855C}"/>
              </a:ext>
            </a:extLst>
          </p:cNvPr>
          <p:cNvSpPr/>
          <p:nvPr userDrawn="1"/>
        </p:nvSpPr>
        <p:spPr>
          <a:xfrm>
            <a:off x="8156568" y="6370320"/>
            <a:ext cx="987432" cy="487680"/>
          </a:xfrm>
          <a:prstGeom prst="rect">
            <a:avLst/>
          </a:prstGeom>
          <a:solidFill>
            <a:schemeClr val="accent6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915ADAAF-9005-4B29-86C6-675388A1B974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0" y="1679575"/>
            <a:ext cx="5000573" cy="656591"/>
          </a:xfrm>
        </p:spPr>
        <p:txBody>
          <a:bodyPr anchor="ctr"/>
          <a:lstStyle>
            <a:lvl1pPr>
              <a:lnSpc>
                <a:spcPct val="100000"/>
              </a:lnSpc>
              <a:spcAft>
                <a:spcPts val="1600"/>
              </a:spcAft>
              <a:defRPr sz="4300">
                <a:solidFill>
                  <a:schemeClr val="accent6"/>
                </a:solidFill>
              </a:defRPr>
            </a:lvl1pPr>
            <a:lvl2pPr marL="0" indent="0">
              <a:spcAft>
                <a:spcPts val="800"/>
              </a:spcAft>
              <a:buNone/>
              <a:defRPr sz="27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44289AFF-9482-4E88-9279-64A3038659F9}"/>
              </a:ext>
            </a:extLst>
          </p:cNvPr>
          <p:cNvCxnSpPr>
            <a:cxnSpLocks/>
          </p:cNvCxnSpPr>
          <p:nvPr userDrawn="1"/>
        </p:nvCxnSpPr>
        <p:spPr>
          <a:xfrm flipV="1">
            <a:off x="7411720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xmlns="" id="{32738862-8617-4A41-B927-806FF7ADFC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73407" y="6552609"/>
            <a:ext cx="3884105" cy="12311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xmlns="" id="{EF1CC44F-7C97-4DC8-873F-F5709B6551E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xmlns="" id="{6207BB6D-5E37-408E-94B6-99F0BBCAB8B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1AD8FA05-964E-43A7-A539-235996BC5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5943600" y="-14508"/>
            <a:ext cx="0" cy="638482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ADFC0944-010B-4BE3-B006-2F6349C778F9}"/>
              </a:ext>
            </a:extLst>
          </p:cNvPr>
          <p:cNvCxnSpPr>
            <a:cxnSpLocks/>
          </p:cNvCxnSpPr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EAFA84C8-C62C-44AF-9AAF-1AA63483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634" t="-176" r="10303" b="2837"/>
          <a:stretch/>
        </p:blipFill>
        <p:spPr>
          <a:xfrm>
            <a:off x="5943601" y="3851586"/>
            <a:ext cx="1468120" cy="2518737"/>
          </a:xfrm>
          <a:prstGeom prst="rect">
            <a:avLst/>
          </a:prstGeom>
        </p:spPr>
      </p:pic>
      <p:sp>
        <p:nvSpPr>
          <p:cNvPr id="21" name="ADP MAS Executive Overview…">
            <a:extLst>
              <a:ext uri="{FF2B5EF4-FFF2-40B4-BE49-F238E27FC236}">
                <a16:creationId xmlns:a16="http://schemas.microsoft.com/office/drawing/2014/main" xmlns="" id="{293C33A0-9A41-4794-9798-D48CF1305298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/>
              <a:t>Copyright © 201</a:t>
            </a:r>
            <a:r>
              <a:rPr lang="en-US" sz="800" spc="-27" dirty="0"/>
              <a:t>9</a:t>
            </a:r>
            <a:r>
              <a:rPr sz="800" spc="-27" dirty="0"/>
              <a:t> ADP, LLC. </a:t>
            </a:r>
            <a:r>
              <a:rPr lang="en-US" sz="800" spc="-27" dirty="0"/>
              <a:t>ADP </a:t>
            </a:r>
            <a:r>
              <a:rPr sz="800" spc="-27" dirty="0"/>
              <a:t>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876612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38F4A54-6B7C-48F6-B89B-FAAA9DF49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471641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B02EF5A-9206-47E7-B03E-650EFBD79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539883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94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538D556-A6E4-4815-B814-50A4603C86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143397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A8736175-0B0A-4587-B0C0-F65FAA24AF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F37E3A-E171-40F0-B219-733897075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3" y="350331"/>
            <a:ext cx="7266432" cy="574516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5D580AB-4855-4F38-BEC4-BF77649CFF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F3912BE-54C3-4D19-BBEF-FDF52A29F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06D8B4-3DDD-4D6A-AE1F-42FB0F707179}"/>
              </a:ext>
            </a:extLst>
          </p:cNvPr>
          <p:cNvSpPr/>
          <p:nvPr userDrawn="1"/>
        </p:nvSpPr>
        <p:spPr>
          <a:xfrm>
            <a:off x="8156568" y="1474896"/>
            <a:ext cx="987432" cy="5383104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45" tIns="162545" rIns="162545" bIns="162545" numCol="1" spcCol="50796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43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D78ACAB2-66C2-441C-871C-042C81CF7B4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56568" y="0"/>
            <a:ext cx="0" cy="685800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5">
            <a:extLst>
              <a:ext uri="{FF2B5EF4-FFF2-40B4-BE49-F238E27FC236}">
                <a16:creationId xmlns:a16="http://schemas.microsoft.com/office/drawing/2014/main" xmlns="" id="{7D28AD58-5FE0-4C9F-A1DE-ADB86C026E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01AFD195-2A60-4777-9988-104D53137C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3" y="935711"/>
            <a:ext cx="7266432" cy="292388"/>
          </a:xfrm>
        </p:spPr>
        <p:txBody>
          <a:bodyPr/>
          <a:lstStyle>
            <a:lvl1pPr algn="l">
              <a:spcBef>
                <a:spcPts val="0"/>
              </a:spcBef>
              <a:spcAft>
                <a:spcPts val="1600"/>
              </a:spcAft>
              <a:defRPr sz="1900"/>
            </a:lvl1pPr>
            <a:lvl2pPr marL="0" indent="0">
              <a:buNone/>
              <a:defRPr sz="1100"/>
            </a:lvl2pPr>
            <a:lvl3pPr>
              <a:defRPr sz="1100"/>
            </a:lvl3pPr>
            <a:lvl4pPr>
              <a:defRPr sz="1500"/>
            </a:lvl4pPr>
            <a:lvl5pPr>
              <a:defRPr sz="300"/>
            </a:lvl5pPr>
          </a:lstStyle>
          <a:p>
            <a:pPr lvl="0"/>
            <a:r>
              <a:rPr lang="en-US" dirty="0"/>
              <a:t>Subtitle in sentence case, 14-p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1CCA74C-BAF0-4C27-8214-30F7582D79E7}"/>
              </a:ext>
            </a:extLst>
          </p:cNvPr>
          <p:cNvCxnSpPr>
            <a:cxnSpLocks/>
          </p:cNvCxnSpPr>
          <p:nvPr userDrawn="1"/>
        </p:nvCxnSpPr>
        <p:spPr>
          <a:xfrm>
            <a:off x="0" y="1474896"/>
            <a:ext cx="9144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DFC62EA-B9D9-401B-AE7B-154588011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64" t="33672" r="16571" b="-3878"/>
          <a:stretch/>
        </p:blipFill>
        <p:spPr>
          <a:xfrm>
            <a:off x="8156568" y="1"/>
            <a:ext cx="987432" cy="126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296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712" y="5867400"/>
            <a:ext cx="1723293" cy="106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114800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2391572" y="6523039"/>
            <a:ext cx="4360863" cy="20161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opyright © 2016 ADP, LLC. Proprietary and Confidential.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114800" y="6246169"/>
            <a:ext cx="609600" cy="2359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fld id="{D79FCBA7-D3FA-41C7-8C44-48835D5471A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48" r:id="rId2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spcBef>
          <a:spcPct val="0"/>
        </a:spcBef>
        <a:buNone/>
        <a:defRPr lang="en-US" sz="2800" b="1" kern="1200" dirty="0">
          <a:solidFill>
            <a:srgbClr val="626262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26262"/>
          </a:solidFill>
          <a:latin typeface="+mn-lt"/>
          <a:ea typeface="+mn-ea"/>
          <a:cs typeface="+mn-cs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26262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rgbClr val="626262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626262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rgbClr val="626262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17F32CDE-32A2-4AA2-B842-D8D167E6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3914543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3921B097-93EC-48D2-97C7-60BB0027D1D2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32">
              <a:spcAft>
                <a:spcPts val="1600"/>
              </a:spcAft>
            </a:pPr>
            <a:endParaRPr lang="en-US" sz="3200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9EE826A-F676-496D-943F-9B579DC9C5A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204" y="368527"/>
            <a:ext cx="8229599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1C97F75-0A19-49AC-8044-279F24B72B4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7200" y="1083786"/>
            <a:ext cx="8229600" cy="18466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EDCC5A5-085B-425E-AC19-EEF6E91EDEF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73404" y="6552609"/>
            <a:ext cx="390144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r>
              <a:rPr lang="en-US" dirty="0" smtClean="0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9F97EA0-7F08-48C2-A1DD-79E84C0F17A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7724834" y="6552609"/>
            <a:ext cx="11702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332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32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1" name="ADP MAS Executive Overview…">
            <a:extLst>
              <a:ext uri="{FF2B5EF4-FFF2-40B4-BE49-F238E27FC236}">
                <a16:creationId xmlns:a16="http://schemas.microsoft.com/office/drawing/2014/main" xmlns="" id="{9285B94E-864E-41A4-AF56-DCCA4B3C46BE}"/>
              </a:ext>
            </a:extLst>
          </p:cNvPr>
          <p:cNvSpPr txBox="1"/>
          <p:nvPr userDrawn="1"/>
        </p:nvSpPr>
        <p:spPr>
          <a:xfrm>
            <a:off x="457204" y="6552609"/>
            <a:ext cx="181588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32"/>
            <a:r>
              <a:rPr sz="800" spc="-27" dirty="0">
                <a:solidFill>
                  <a:srgbClr val="222222"/>
                </a:solidFill>
              </a:rPr>
              <a:t>Copyright © 201</a:t>
            </a:r>
            <a:r>
              <a:rPr lang="en-US" sz="800" spc="-27" dirty="0">
                <a:solidFill>
                  <a:srgbClr val="222222"/>
                </a:solidFill>
              </a:rPr>
              <a:t>9</a:t>
            </a:r>
            <a:r>
              <a:rPr sz="800" spc="-27" dirty="0">
                <a:solidFill>
                  <a:srgbClr val="222222"/>
                </a:solidFill>
              </a:rPr>
              <a:t> ADP, LLC. </a:t>
            </a:r>
            <a:r>
              <a:rPr lang="en-US" sz="800" spc="-27" dirty="0">
                <a:solidFill>
                  <a:srgbClr val="222222"/>
                </a:solidFill>
              </a:rPr>
              <a:t>ADP </a:t>
            </a:r>
            <a:r>
              <a:rPr sz="800" spc="-27" dirty="0">
                <a:solidFill>
                  <a:srgbClr val="222222"/>
                </a:solidFill>
              </a:rPr>
              <a:t>Confidential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xmlns="" id="{363BDD2D-33BB-4F90-9F7D-439C1ACD8F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419572" y="6515129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12" tIns="60956" rIns="121912" bIns="60956" numCol="1" anchor="t" anchorCtr="0" compatLnSpc="1">
            <a:prstTxWarp prst="textNoShape">
              <a:avLst/>
            </a:prstTxWarp>
          </a:bodyPr>
          <a:lstStyle/>
          <a:p>
            <a:pPr defTabSz="914332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7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92" r:id="rId17"/>
    <p:sldLayoutId id="2147483793" r:id="rId18"/>
    <p:sldLayoutId id="2147483794" r:id="rId19"/>
  </p:sldLayoutIdLst>
  <p:hf hdr="0" dt="0"/>
  <p:txStyles>
    <p:titleStyle>
      <a:lvl1pPr algn="l" defTabSz="685750" rtl="0" eaLnBrk="1" latinLnBrk="0" hangingPunct="1">
        <a:lnSpc>
          <a:spcPct val="100000"/>
        </a:lnSpc>
        <a:spcBef>
          <a:spcPct val="0"/>
        </a:spcBef>
        <a:buNone/>
        <a:defRPr sz="37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52388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76" indent="-152388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750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5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10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3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4" indent="-171438" algn="l" defTabSz="6857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2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7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4" algn="l" defTabSz="68575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60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4" pos="4104" userDrawn="1">
          <p15:clr>
            <a:srgbClr val="A4A3A4"/>
          </p15:clr>
        </p15:guide>
        <p15:guide id="5" orient="horz" pos="324" userDrawn="1">
          <p15:clr>
            <a:srgbClr val="A4A3A4"/>
          </p15:clr>
        </p15:guide>
        <p15:guide id="6" orient="horz" pos="3012" userDrawn="1">
          <p15:clr>
            <a:srgbClr val="A4A3A4"/>
          </p15:clr>
        </p15:guide>
        <p15:guide id="7" pos="1512" userDrawn="1">
          <p15:clr>
            <a:srgbClr val="F26B43"/>
          </p15:clr>
        </p15:guide>
        <p15:guide id="8" pos="2808" userDrawn="1">
          <p15:clr>
            <a:srgbClr val="F26B43"/>
          </p15:clr>
        </p15:guide>
        <p15:guide id="9" orient="horz" pos="8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oleObject" Target="../embeddings/oleObject12.bin"/><Relationship Id="rId7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1.wmf"/><Relationship Id="rId4" Type="http://schemas.openxmlformats.org/officeDocument/2006/relationships/package" Target="../embeddings/Microsoft_Excel_Worksheet1.xlsx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3" Type="http://schemas.openxmlformats.org/officeDocument/2006/relationships/oleObject" Target="../embeddings/oleObject14.bin"/><Relationship Id="rId7" Type="http://schemas.openxmlformats.org/officeDocument/2006/relationships/package" Target="../embeddings/Microsoft_Excel_Worksheet4.xlsx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25.wmf"/><Relationship Id="rId5" Type="http://schemas.openxmlformats.org/officeDocument/2006/relationships/image" Target="../media/image23.wmf"/><Relationship Id="rId10" Type="http://schemas.openxmlformats.org/officeDocument/2006/relationships/package" Target="../embeddings/Microsoft_Excel_Worksheet5.xlsx"/><Relationship Id="rId4" Type="http://schemas.openxmlformats.org/officeDocument/2006/relationships/package" Target="../embeddings/Microsoft_Excel_Worksheet3.xlsx"/><Relationship Id="rId9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57EF1DD-207C-4C39-81EC-5973AC033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771901"/>
            <a:ext cx="4056062" cy="215444"/>
          </a:xfrm>
        </p:spPr>
        <p:txBody>
          <a:bodyPr/>
          <a:lstStyle/>
          <a:p>
            <a:r>
              <a:rPr lang="en-AU" dirty="0" smtClean="0"/>
              <a:t>GV Vietnam Payroll and Time Blueprint Workshop</a:t>
            </a:r>
          </a:p>
        </p:txBody>
      </p:sp>
    </p:spTree>
    <p:extLst>
      <p:ext uri="{BB962C8B-B14F-4D97-AF65-F5344CB8AC3E}">
        <p14:creationId xmlns:p14="http://schemas.microsoft.com/office/powerpoint/2010/main" val="209189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3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Wednesday 14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609218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 Quota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12:15 – 13:00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0" dirty="0" smtClean="0"/>
                        <a:t>Lunch</a:t>
                      </a:r>
                      <a:endParaRPr lang="en-AU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(</a:t>
                      </a:r>
                      <a:r>
                        <a:rPr lang="en-AU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’t</a:t>
                      </a:r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Centre Allocation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7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Clos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20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4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Thursday 15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698901"/>
              </p:ext>
            </p:extLst>
          </p:nvPr>
        </p:nvGraphicFramePr>
        <p:xfrm>
          <a:off x="292309" y="1494436"/>
          <a:ext cx="7847354" cy="383551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tions / Redundancies 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urance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xation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roll Special Processing incl. yearly finalis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Qi Wang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ing / EFT Detail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slip Requirement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ity / Authorisations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Qi Wang 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4204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3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E1AEF3A2-0CA0-47CB-B7C3-46784ABE9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287176"/>
            <a:ext cx="4646951" cy="3434786"/>
          </a:xfrm>
        </p:spPr>
        <p:txBody>
          <a:bodyPr/>
          <a:lstStyle/>
          <a:p>
            <a:r>
              <a:rPr lang="en-US" dirty="0" smtClean="0"/>
              <a:t>Blueprint Workshop  Vietnam – Payroll + Time:</a:t>
            </a:r>
            <a:br>
              <a:rPr lang="en-US" dirty="0" smtClean="0"/>
            </a:br>
            <a:r>
              <a:rPr lang="en-US" sz="3600" dirty="0"/>
              <a:t>Introduction &amp; 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E0D46E5-AD0E-4B48-93CE-EDC066A1D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2 - 16 August | Melbour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4" y="4877865"/>
            <a:ext cx="1851599" cy="65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2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3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Wednesday 14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949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 Quota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2:15 – 13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Lunch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(</a:t>
                      </a:r>
                      <a:r>
                        <a:rPr lang="en-AU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’t</a:t>
                      </a:r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Centre Allocation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3973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Absence Quota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3724096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Annual Leave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Sick Leave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Long Service Leave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TOIL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Purchase Leave (?)</a:t>
            </a:r>
            <a:endParaRPr lang="en-AU" sz="1400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6384197"/>
              </p:ext>
            </p:extLst>
          </p:nvPr>
        </p:nvGraphicFramePr>
        <p:xfrm>
          <a:off x="5029200" y="25098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029200" y="25098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4689734"/>
              </p:ext>
            </p:extLst>
          </p:nvPr>
        </p:nvGraphicFramePr>
        <p:xfrm>
          <a:off x="6121400" y="25098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121400" y="25098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065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/>
              <a:t>Award Interpretation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4308872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Attendances </a:t>
            </a: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Overtime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Penaltie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Shift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 smtClean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/>
              <a:t>Allowances</a:t>
            </a:r>
            <a:endParaRPr lang="en-AU" sz="11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endParaRPr lang="en-AU" sz="1400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4249838"/>
              </p:ext>
            </p:extLst>
          </p:nvPr>
        </p:nvGraphicFramePr>
        <p:xfrm>
          <a:off x="5384800" y="162930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384800" y="162930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7257198"/>
              </p:ext>
            </p:extLst>
          </p:nvPr>
        </p:nvGraphicFramePr>
        <p:xfrm>
          <a:off x="6502400" y="162930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02400" y="162930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2046842"/>
              </p:ext>
            </p:extLst>
          </p:nvPr>
        </p:nvGraphicFramePr>
        <p:xfrm>
          <a:off x="5384800" y="265747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Worksheet" showAsIcon="1" r:id="rId10" imgW="914400" imgH="771480" progId="Excel.Sheet.12">
                  <p:embed/>
                </p:oleObj>
              </mc:Choice>
              <mc:Fallback>
                <p:oleObj name="Worksheet" showAsIcon="1" r:id="rId10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5384800" y="265747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076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2B135BF-1158-4276-8D96-FB9C2419DB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in sentence cas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5372BA-1349-4B47-A6C9-B2C5CE063D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729644" y="6552609"/>
            <a:ext cx="112210" cy="123111"/>
          </a:xfrm>
        </p:spPr>
        <p:txBody>
          <a:bodyPr/>
          <a:lstStyle/>
          <a:p>
            <a:fld id="{0C691DA3-4ABE-49F3-91E6-D9975CC9DD5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232" y="270061"/>
            <a:ext cx="7266432" cy="1046440"/>
          </a:xfrm>
        </p:spPr>
        <p:txBody>
          <a:bodyPr/>
          <a:lstStyle/>
          <a:p>
            <a:r>
              <a:rPr lang="en-AU" sz="4400" dirty="0" smtClean="0"/>
              <a:t>Agenda Day 3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 smtClean="0"/>
              <a:t>Wednesday 14</a:t>
            </a:r>
            <a:r>
              <a:rPr lang="en-AU" sz="2400" baseline="30000" dirty="0" smtClean="0"/>
              <a:t>th</a:t>
            </a:r>
            <a:r>
              <a:rPr lang="en-AU" sz="2400" dirty="0" smtClean="0"/>
              <a:t> August 2019</a:t>
            </a:r>
            <a:endParaRPr lang="en-US" sz="24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112258"/>
              </p:ext>
            </p:extLst>
          </p:nvPr>
        </p:nvGraphicFramePr>
        <p:xfrm>
          <a:off x="292309" y="1494436"/>
          <a:ext cx="7847354" cy="305827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90716"/>
                <a:gridCol w="4431658"/>
                <a:gridCol w="1924980"/>
              </a:tblGrid>
              <a:tr h="370840"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Time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Session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500" dirty="0" smtClean="0"/>
                        <a:t>Presenter</a:t>
                      </a:r>
                      <a:endParaRPr lang="en-AU" sz="15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15 - 09:3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ap of Previous Day’s Workshop</a:t>
                      </a:r>
                    </a:p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knowledgement to Country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ADP </a:t>
                      </a:r>
                      <a:r>
                        <a:rPr lang="en-AU" sz="1600" baseline="0" dirty="0" smtClean="0"/>
                        <a:t>&amp; RMIT</a:t>
                      </a:r>
                      <a:endParaRPr lang="en-AU" sz="16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09:30 - 12:15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ence Quota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6857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/>
                        <a:t>Bre Dawson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12:15 – 13:00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b="1" dirty="0" smtClean="0"/>
                        <a:t>Lunch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3:00 – 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ward Interpretation (</a:t>
                      </a:r>
                      <a:r>
                        <a:rPr lang="en-AU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’t</a:t>
                      </a:r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lvl="0"/>
                      <a:r>
                        <a:rPr lang="en-A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Centre Allocation</a:t>
                      </a:r>
                      <a:r>
                        <a:rPr lang="en-AU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A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Bre Dawson</a:t>
                      </a:r>
                      <a:endParaRPr lang="en-AU" sz="1600" dirty="0"/>
                    </a:p>
                  </a:txBody>
                  <a:tcPr anchor="ctr"/>
                </a:tc>
              </a:tr>
              <a:tr h="381117"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17:00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1600" dirty="0" smtClean="0"/>
                        <a:t>Close</a:t>
                      </a:r>
                      <a:endParaRPr lang="en-A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16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4481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Cost Centre Alloca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2153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4975" y="194035"/>
            <a:ext cx="7886700" cy="461665"/>
          </a:xfrm>
        </p:spPr>
        <p:txBody>
          <a:bodyPr/>
          <a:lstStyle/>
          <a:p>
            <a:r>
              <a:rPr lang="en-AU" dirty="0" smtClean="0"/>
              <a:t>Service Dates</a:t>
            </a:r>
            <a:endParaRPr lang="en-AU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4976" y="1422400"/>
            <a:ext cx="8285690" cy="1200329"/>
          </a:xfrm>
        </p:spPr>
        <p:txBody>
          <a:bodyPr anchor="t"/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AU" sz="1400" dirty="0" smtClean="0"/>
              <a:t>Requirement for storing Service Dates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RMIT Hire Date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Leave Dates – AL, SL, LSL ? 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Fixed Term Contract End Date?</a:t>
            </a:r>
          </a:p>
          <a:p>
            <a:pPr marL="646113" lvl="2" indent="-196850">
              <a:spcAft>
                <a:spcPts val="600"/>
              </a:spcAft>
              <a:buFont typeface="Arial" pitchFamily="34" charset="0"/>
              <a:buChar char="•"/>
            </a:pPr>
            <a:r>
              <a:rPr lang="en-AU" sz="1100" dirty="0" smtClean="0"/>
              <a:t>Any other dates ?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30" y="3217333"/>
            <a:ext cx="1747736" cy="293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67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9Db7.Q7iFtQ1VbJ8G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ZbDIeMeNyHBT4ygsfd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XLNGl8K5xtFHyTVFd5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SMsJr9DKjQsna8BSC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uhjG.ZSOCWDsqE4ZVd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Usc_xD6Az2O6gNSoz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p7lz.4AwDl.JL14fy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5Gk2_H5_3dPyt9gDG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gjrhvk9_au34fGmHZ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A2fjMdLXI4Syx3Qpr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a6QO3ODlnKTGpZZGs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_Blue Color Palette">
  <a:themeElements>
    <a:clrScheme name="ADP">
      <a:dk1>
        <a:srgbClr val="6F6F73"/>
      </a:dk1>
      <a:lt1>
        <a:sysClr val="window" lastClr="FFFFFF"/>
      </a:lt1>
      <a:dk2>
        <a:srgbClr val="AAA9AA"/>
      </a:dk2>
      <a:lt2>
        <a:srgbClr val="FFFFFF"/>
      </a:lt2>
      <a:accent1>
        <a:srgbClr val="F9A11A"/>
      </a:accent1>
      <a:accent2>
        <a:srgbClr val="CB4399"/>
      </a:accent2>
      <a:accent3>
        <a:srgbClr val="64BEEB"/>
      </a:accent3>
      <a:accent4>
        <a:srgbClr val="C4DA5A"/>
      </a:accent4>
      <a:accent5>
        <a:srgbClr val="AAA9AA"/>
      </a:accent5>
      <a:accent6>
        <a:srgbClr val="BDBBBB"/>
      </a:accent6>
      <a:hlink>
        <a:srgbClr val="0000FF"/>
      </a:hlink>
      <a:folHlink>
        <a:srgbClr val="C4DA5A"/>
      </a:folHlink>
    </a:clrScheme>
    <a:fontScheme name="AD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P 4:3 (Purple) | SketchDeck">
  <a:themeElements>
    <a:clrScheme name="ADP">
      <a:dk1>
        <a:srgbClr val="222222"/>
      </a:dk1>
      <a:lt1>
        <a:srgbClr val="FFFFFF"/>
      </a:lt1>
      <a:dk2>
        <a:srgbClr val="F2635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lIns="0" tIns="0" rIns="0" bIns="0" rtlCol="0" anchor="ctr"/>
      <a:lstStyle>
        <a:defPPr algn="ctr">
          <a:spcAft>
            <a:spcPts val="1200"/>
          </a:spcAft>
          <a:defRPr sz="11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 algn="l">
          <a:lnSpc>
            <a:spcPct val="100000"/>
          </a:lnSpc>
          <a:spcAft>
            <a:spcPts val="1200"/>
          </a:spcAft>
          <a:buClr>
            <a:schemeClr val="accent1"/>
          </a:buClr>
          <a:buFont typeface="Arial" panose="020B0604020202020204" pitchFamily="34" charset="0"/>
          <a:buNone/>
          <a:defRPr sz="11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7" id="{E2F705C3-C316-3B4B-A126-9F26EDBD4762}" vid="{48CEFB01-613B-3349-955F-5FC944BC26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42</TotalTime>
  <Words>297</Words>
  <Application>Microsoft Office PowerPoint</Application>
  <PresentationFormat>On-screen Show (4:3)</PresentationFormat>
  <Paragraphs>130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DP_Blue Color Palette</vt:lpstr>
      <vt:lpstr>ADP 4:3 (Purple) | SketchDeck</vt:lpstr>
      <vt:lpstr>think-cell Slide</vt:lpstr>
      <vt:lpstr>Worksheet</vt:lpstr>
      <vt:lpstr>PowerPoint Presentation</vt:lpstr>
      <vt:lpstr>PowerPoint Presentation</vt:lpstr>
      <vt:lpstr>PowerPoint Presentation</vt:lpstr>
      <vt:lpstr>Agenda Day 3 Wednesday 14th August 2019</vt:lpstr>
      <vt:lpstr>PowerPoint Presentation</vt:lpstr>
      <vt:lpstr>PowerPoint Presentation</vt:lpstr>
      <vt:lpstr>Agenda Day 3 Wednesday 14th August 2019</vt:lpstr>
      <vt:lpstr>PowerPoint Presentation</vt:lpstr>
      <vt:lpstr>PowerPoint Presentation</vt:lpstr>
      <vt:lpstr>Agenda Day 3 Wednesday 14th August 2019</vt:lpstr>
      <vt:lpstr>Agenda Day 4 Thursday 15th August 2019</vt:lpstr>
    </vt:vector>
  </TitlesOfParts>
  <Company>Mull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Lulkovitz</dc:creator>
  <cp:lastModifiedBy>Dawson, Bre (ESI)</cp:lastModifiedBy>
  <cp:revision>267</cp:revision>
  <cp:lastPrinted>2019-06-16T06:21:30Z</cp:lastPrinted>
  <dcterms:created xsi:type="dcterms:W3CDTF">2015-05-13T14:54:49Z</dcterms:created>
  <dcterms:modified xsi:type="dcterms:W3CDTF">2019-08-09T03:55:03Z</dcterms:modified>
</cp:coreProperties>
</file>